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3" d="100"/>
          <a:sy n="63" d="100"/>
        </p:scale>
        <p:origin x="732" y="5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0/05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0/05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hanothu.sai-sreeja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31834" y="3100390"/>
            <a:ext cx="3943804" cy="3073397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100" b="1" dirty="0"/>
              <a:t>GIG MANAGEMENT SYSTEM</a:t>
            </a:r>
          </a:p>
          <a:p>
            <a:pPr marL="64770" marR="22860" algn="just">
              <a:lnSpc>
                <a:spcPct val="112000"/>
              </a:lnSpc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ed end to end case study of Employee</a:t>
            </a:r>
            <a:r>
              <a:rPr lang="en-US" sz="1100" spc="-38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agement System, Postman and swagger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sting Html</a:t>
            </a:r>
            <a:r>
              <a:rPr lang="en-US" sz="1100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S</a:t>
            </a:r>
            <a:r>
              <a:rPr lang="en-US" sz="1100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d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face.</a:t>
            </a:r>
          </a:p>
          <a:p>
            <a:pPr marL="64770" marR="22860">
              <a:lnSpc>
                <a:spcPct val="112000"/>
              </a:lnSpc>
              <a:spcAft>
                <a:spcPts val="0"/>
              </a:spcAft>
            </a:pPr>
            <a:endParaRPr lang="en-IN" sz="11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4000"/>
              </a:lnSpc>
            </a:pPr>
            <a:r>
              <a:rPr lang="en-US" sz="11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-900</a:t>
            </a:r>
            <a:r>
              <a:rPr lang="en-US" sz="1100" b="1" spc="-3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rtification</a:t>
            </a:r>
            <a:r>
              <a:rPr lang="en-US" sz="1100" b="1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om Microsoft</a:t>
            </a: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ed this course and having Azure certification</a:t>
            </a:r>
          </a:p>
          <a:p>
            <a:pPr>
              <a:lnSpc>
                <a:spcPct val="114000"/>
              </a:lnSpc>
            </a:pPr>
            <a:endParaRPr lang="en-US" sz="11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IN" altLang="nl-NL" sz="1100" b="1" dirty="0"/>
          </a:p>
          <a:p>
            <a:pPr marR="179705">
              <a:lnSpc>
                <a:spcPct val="112000"/>
              </a:lnSpc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                                                          </a:t>
            </a:r>
            <a:endParaRPr lang="en-IN" sz="11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8421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gandla.madan.mohan@capgemini.com</a:t>
            </a:r>
            <a:r>
              <a:rPr lang="nl-NL" altLang="nl-NL" dirty="0"/>
              <a:t> 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40871" y="3199527"/>
            <a:ext cx="4057650" cy="2892424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Ready to learn new technologies and implement them to further improve my knowledg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latin typeface="Verdana" panose="020B0604030504040204" pitchFamily="34" charset="0"/>
                <a:ea typeface="Arial MT"/>
                <a:cs typeface="Arial MT"/>
              </a:rPr>
              <a:t>A team player with good communication skill always ready to work for the enrichment </a:t>
            </a:r>
            <a:r>
              <a:rPr lang="en-US" sz="1100">
                <a:latin typeface="Verdana" panose="020B0604030504040204" pitchFamily="34" charset="0"/>
                <a:ea typeface="Arial MT"/>
                <a:cs typeface="Arial MT"/>
              </a:rPr>
              <a:t>of knowledge</a:t>
            </a:r>
            <a:endParaRPr lang="en-US" sz="1100">
              <a:effectLst/>
              <a:latin typeface="Verdana" panose="020B0604030504040204" pitchFamily="34" charset="0"/>
              <a:ea typeface="Arial MT"/>
              <a:cs typeface="Arial M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Eager to work in a team of dedicated people and</a:t>
            </a:r>
            <a:r>
              <a:rPr lang="en-US" sz="1100" spc="-37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serve a key role in the enhancement and</a:t>
            </a:r>
            <a:r>
              <a:rPr lang="en-US" sz="1100" spc="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development</a:t>
            </a:r>
            <a:r>
              <a:rPr lang="en-US" sz="1100" spc="-1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of</a:t>
            </a:r>
            <a:r>
              <a:rPr lang="en-US" sz="1100" spc="-1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the projec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altLang="en-US" sz="1100" dirty="0"/>
          </a:p>
          <a:p>
            <a:endParaRPr lang="en-IN" sz="1100" dirty="0">
              <a:effectLst/>
              <a:latin typeface="Verdana" panose="020B0604030504040204" pitchFamily="34" charset="0"/>
              <a:ea typeface="Arial" panose="020B0604020202020204" pitchFamily="34" charset="0"/>
              <a:cs typeface="Verdana" panose="020B0604030504040204" pitchFamily="34" charset="0"/>
            </a:endParaRP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Technolog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lectrical and Electronics Engineering: 2017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C#</a:t>
            </a: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ytho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MS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Backend</a:t>
            </a:r>
            <a:endParaRPr lang="en-IN" sz="10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 API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-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ood Listene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Quick Learn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 err="1"/>
              <a:t>Gandla</a:t>
            </a:r>
            <a:r>
              <a:rPr lang="en-IN" altLang="en-US" dirty="0"/>
              <a:t> Madan Mohan</a:t>
            </a:r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9A92408C-9348-8A2C-1EE6-829B12ACD4C2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38" b="12438"/>
          <a:stretch>
            <a:fillRect/>
          </a:stretch>
        </p:blipFill>
        <p:spPr>
          <a:xfrm>
            <a:off x="381830" y="398504"/>
            <a:ext cx="1734208" cy="1735628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50E9421-FB48-0DD6-3820-34192A75AE04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46451" y="1828577"/>
            <a:ext cx="2281274" cy="325437"/>
          </a:xfrm>
        </p:spPr>
        <p:txBody>
          <a:bodyPr/>
          <a:lstStyle/>
          <a:p>
            <a:r>
              <a:rPr lang="en-IN" dirty="0"/>
              <a:t>+91 8008360969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519</TotalTime>
  <Words>151</Words>
  <Application>Microsoft Office PowerPoint</Application>
  <PresentationFormat>Widescreen</PresentationFormat>
  <Paragraphs>6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918008360969</cp:lastModifiedBy>
  <cp:revision>117</cp:revision>
  <dcterms:created xsi:type="dcterms:W3CDTF">2017-12-08T05:27:40Z</dcterms:created>
  <dcterms:modified xsi:type="dcterms:W3CDTF">2022-05-10T13:4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